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E040E444-3B9D-4334-9EDD-BE01E1D76F5B}">
          <p14:sldIdLst>
            <p14:sldId id="2147477365"/>
            <p14:sldId id="2147477366"/>
            <p14:sldId id="2147477367"/>
            <p14:sldId id="2147477368"/>
            <p14:sldId id="2147477369"/>
          </p14:sldIdLst>
        </p14:section>
        <p14:section name="Category Price Point Distribution Analysis P12M" id="{7DED092B-4F86-4068-80A9-9CBFD0866E89}">
          <p14:sldIdLst>
            <p14:sldId id="2147477370"/>
            <p14:sldId id="2147477371"/>
            <p14:sldId id="2147477372"/>
            <p14:sldId id="2147477373"/>
            <p14:sldId id="2147477374"/>
          </p14:sldIdLst>
        </p14:section>
        <p14:section name="Sector Price Point Distribution Analysis P3M" id="{D0B3EC16-F98C-446F-B7E7-3D69639B62A6}">
          <p14:sldIdLst>
            <p14:sldId id="2147477375"/>
            <p14:sldId id="2147477376"/>
            <p14:sldId id="2147477377"/>
            <p14:sldId id="2147477378"/>
            <p14:sldId id="2147477379"/>
            <p14:sldId id="2147477380"/>
            <p14:sldId id="2147477381"/>
          </p14:sldIdLst>
        </p14:section>
        <p14:section name="Sector Price Point Distribution Analysis P12M" id="{DE6B2D45-57CD-4F23-A985-61C06578C080}">
          <p14:sldIdLst>
            <p14:sldId id="2147477382"/>
            <p14:sldId id="2147477383"/>
            <p14:sldId id="2147477384"/>
            <p14:sldId id="2147477385"/>
            <p14:sldId id="2147477386"/>
            <p14:sldId id="2147477387"/>
            <p14:sldId id="2147477388"/>
          </p14:sldIdLst>
        </p14:section>
        <p14:section name="Price Point Distribution Analysis P3M ByManuf" id="{6D4203C3-8EAF-4563-AEDB-8FDDEDBAE5B7}">
          <p14:sldIdLst>
            <p14:sldId id="2147477389"/>
            <p14:sldId id="2147477390"/>
            <p14:sldId id="2147477391"/>
          </p14:sldIdLst>
        </p14:section>
        <p14:section name="Price Point Distribution Analysis P12M ByManuf" id="{48CA13CC-E4E9-491D-A159-2ADEE1CED724}">
          <p14:sldIdLst>
            <p14:sldId id="2147477392"/>
            <p14:sldId id="2147477393"/>
            <p14:sldId id="2147477394"/>
          </p14:sldIdLst>
        </p14:section>
        <p14:section name="Price Point Distribution Analysis P3M ByManuf" id="{84EE4208-5A8C-463A-B6FE-013E8032B5AC}">
          <p14:sldIdLst>
            <p14:sldId id="2147477395"/>
            <p14:sldId id="2147477396"/>
            <p14:sldId id="2147477397"/>
            <p14:sldId id="2147477398"/>
            <p14:sldId id="2147477399"/>
          </p14:sldIdLst>
        </p14:section>
        <p14:section name="Price Point Distribution Analysis P12M ByManuf" id="{644770F1-042C-4700-A853-D73B40CD23F9}">
          <p14:sldIdLst>
            <p14:sldId id="2147477400"/>
            <p14:sldId id="2147477401"/>
            <p14:sldId id="2147477402"/>
            <p14:sldId id="2147477403"/>
            <p14:sldId id="2147477404"/>
          </p14:sldIdLst>
        </p14:section>
        <p14:section name="Price Point Comparison Analysis by Manuf" id="{191B3B41-F11B-4E59-9D39-666B7020F79C}">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C2A3C45B-7F2F-4CC7-A454-BF7C7A2F601E}">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B7BB2223-15A3-48E5-8347-A9BE2AE337A5}">
          <p14:sldIdLst>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Lst>
        </p14:section>
        <p14:section name="Price Point Distribution By Brand By Sector" id="{47C8419C-C72B-420B-BD71-AA1DB3CA4358}">
          <p14:sldIdLst>
            <p14:sldId id="2147477462"/>
            <p14:sldId id="2147477463"/>
            <p14:sldId id="2147477464"/>
          </p14:sldIdLst>
        </p14:section>
        <p14:section name="Price Point Distribution By Brand By Segment" id="{54C67B05-AFF0-49CD-9D34-85905BC32905}">
          <p14:sldIdLst>
            <p14:sldId id="2147477465"/>
            <p14:sldId id="2147477466"/>
            <p14:sldId id="2147477467"/>
            <p14:sldId id="2147477468"/>
            <p14:sldId id="2147477469"/>
            <p14:sldId id="214747747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viewProps" Target="view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630643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8211773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9186055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712107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23769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627952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1678001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256014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61129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411228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41469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66885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43372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39893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67203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69730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67195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41191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218272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92907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250238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33529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5265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541492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788121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912053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36880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071354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01131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118763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534136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318348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291371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59528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239984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794469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53059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15854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950499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30194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899760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436271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148351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281235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308930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02668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841292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328613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61141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613802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835380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034725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847841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60065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065419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165199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615524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162198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426886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967903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726489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02053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966815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996077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648926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42988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340940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888291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99851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957138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072748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04723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237513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8781604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295551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757621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168808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694526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247598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153073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922189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375555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488684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1772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5443783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437705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0662401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6/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53960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4793214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3626805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9042407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690137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80961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033236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986407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409168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5573624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778580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27516505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2512530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830550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026085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4828472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10315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662992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76860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TotalTime>
  <Words>11491</Words>
  <Application>Microsoft Office PowerPoint</Application>
  <PresentationFormat>On-screen Show (16:9)</PresentationFormat>
  <Paragraphs>5158</Paragraphs>
  <Slides>10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1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6T12: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